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image" Target="../media/image4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41" Type="http://schemas.openxmlformats.org/officeDocument/2006/relationships/tags" Target="../tags/tag44.xml"/><Relationship Id="rId54" Type="http://schemas.openxmlformats.org/officeDocument/2006/relationships/oleObject" Target="../embeddings/oleObject4.bin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image" Target="../media/image3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8" Type="http://schemas.openxmlformats.org/officeDocument/2006/relationships/tags" Target="../tags/tag11.xml"/><Relationship Id="rId51" Type="http://schemas.openxmlformats.org/officeDocument/2006/relationships/slideLayout" Target="../slideLayouts/slideLayout2.xml"/><Relationship Id="rId3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555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1" name="think-cell Slide" r:id="rId52" imgW="383" imgH="385" progId="TCLayout.ActiveDocument.1">
                  <p:embed/>
                </p:oleObj>
              </mc:Choice>
              <mc:Fallback>
                <p:oleObj name="think-cell Slide" r:id="rId52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atter/Bubble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cxnSp>
        <p:nvCxnSpPr>
          <p:cNvPr id="146" name="Straight Connector 145"/>
          <p:cNvCxnSpPr/>
          <p:nvPr>
            <p:custDataLst>
              <p:tags r:id="rId4"/>
            </p:custDataLst>
          </p:nvPr>
        </p:nvCxnSpPr>
        <p:spPr bwMode="auto">
          <a:xfrm flipV="1">
            <a:off x="1885950" y="5648325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148"/>
          <p:cNvCxnSpPr/>
          <p:nvPr>
            <p:custDataLst>
              <p:tags r:id="rId5"/>
            </p:custDataLst>
          </p:nvPr>
        </p:nvCxnSpPr>
        <p:spPr bwMode="auto">
          <a:xfrm flipV="1">
            <a:off x="7439025" y="5648325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/>
          <p:cNvCxnSpPr/>
          <p:nvPr>
            <p:custDataLst>
              <p:tags r:id="rId6"/>
            </p:custDataLst>
          </p:nvPr>
        </p:nvCxnSpPr>
        <p:spPr bwMode="auto">
          <a:xfrm flipV="1">
            <a:off x="6324600" y="5648325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Straight Connector 143"/>
          <p:cNvCxnSpPr/>
          <p:nvPr>
            <p:custDataLst>
              <p:tags r:id="rId7"/>
            </p:custDataLst>
          </p:nvPr>
        </p:nvCxnSpPr>
        <p:spPr bwMode="auto">
          <a:xfrm flipV="1">
            <a:off x="9658350" y="5648325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151"/>
          <p:cNvCxnSpPr/>
          <p:nvPr>
            <p:custDataLst>
              <p:tags r:id="rId8"/>
            </p:custDataLst>
          </p:nvPr>
        </p:nvCxnSpPr>
        <p:spPr bwMode="auto">
          <a:xfrm flipV="1">
            <a:off x="8543925" y="5648325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8" name="Straight Connector 147"/>
          <p:cNvCxnSpPr/>
          <p:nvPr>
            <p:custDataLst>
              <p:tags r:id="rId9"/>
            </p:custDataLst>
          </p:nvPr>
        </p:nvCxnSpPr>
        <p:spPr bwMode="auto">
          <a:xfrm flipV="1">
            <a:off x="3000375" y="5648325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0" name="Straight Connector 149"/>
          <p:cNvCxnSpPr/>
          <p:nvPr>
            <p:custDataLst>
              <p:tags r:id="rId10"/>
            </p:custDataLst>
          </p:nvPr>
        </p:nvCxnSpPr>
        <p:spPr bwMode="auto">
          <a:xfrm flipV="1">
            <a:off x="1466850" y="5648325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Straight Connector 150"/>
          <p:cNvCxnSpPr/>
          <p:nvPr>
            <p:custDataLst>
              <p:tags r:id="rId11"/>
            </p:custDataLst>
          </p:nvPr>
        </p:nvCxnSpPr>
        <p:spPr bwMode="auto">
          <a:xfrm flipV="1">
            <a:off x="5219700" y="5648325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Straight Connector 146"/>
          <p:cNvCxnSpPr/>
          <p:nvPr>
            <p:custDataLst>
              <p:tags r:id="rId12"/>
            </p:custDataLst>
          </p:nvPr>
        </p:nvCxnSpPr>
        <p:spPr bwMode="auto">
          <a:xfrm flipV="1">
            <a:off x="4105275" y="5648325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53" name="Object 152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84755111"/>
              </p:ext>
            </p:extLst>
          </p:nvPr>
        </p:nvGraphicFramePr>
        <p:xfrm>
          <a:off x="1295400" y="1295400"/>
          <a:ext cx="8467580" cy="44576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2" name="Chart" r:id="rId54" imgW="8467580" imgH="4457652" progId="MSGraph.Chart.8">
                  <p:embed followColorScheme="full"/>
                </p:oleObj>
              </mc:Choice>
              <mc:Fallback>
                <p:oleObj name="Chart" r:id="rId54" imgW="8467580" imgH="445765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295400" y="1295400"/>
                        <a:ext cx="8467580" cy="44576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Text Placeholder 335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340600" y="5810250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B610B04-7309-45CB-9F06-BC6AFA87B075}" type="datetime'''''''''''''''''''''''4''''''0'''''''''''''''''''''">
              <a:rPr lang="en-US" sz="1400" b="0"/>
              <a:pPr/>
              <a:t>4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Text Placeholder 359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228725" y="1312863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F987FC46-51B9-4B63-B158-BC2042EF9965}" type="datetime'''''''''''''''''''''8'''''''''''''''''''''''''''''''''''''''">
              <a:rPr lang="en-US" sz="1400" b="0"/>
              <a:pPr/>
              <a:t>8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Text Placeholder 308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1228725" y="2370138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BF389472-B548-4D5E-AB48-0ABCFEF10DBC}" type="datetime'''''''''''''''''''''''6'''''''">
              <a:rPr lang="en-US" sz="1400" b="0"/>
              <a:pPr/>
              <a:t>6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Text Placeholder 304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1228725" y="4484688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FBBC8AAD-D18A-4D8B-BD32-A0A66D2A3DF0}" type="datetime'''''''''''2'''''''''''''''''">
              <a:rPr lang="en-US" sz="1400" b="0"/>
              <a:pPr/>
              <a:t>2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Text Placeholder 325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121275" y="5810250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7D47E0F-3ED0-4D67-8008-1A4580D4F4CF}" type="datetime'3''''''0'''''''''''''''''''">
              <a:rPr lang="en-US" sz="1400" b="0"/>
              <a:pPr/>
              <a:t>3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0" name="Text Placeholder 320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006850" y="5810250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8A9260F-0085-491C-9370-C97216E36CC4}" type="datetime'''''''''2''''''''''''''''''''''''''5'''''">
              <a:rPr lang="en-US" sz="1400" b="0"/>
              <a:pPr/>
              <a:t>2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9" name="Text Placeholder 307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228725" y="2903538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0B0BE14-9794-4A07-9CA3-2E59CDEE1541}" type="datetime'''''''''''''''''''''''''''''''''''''5'''''''''''''''''''''''''">
              <a:rPr lang="en-US" sz="1400" b="0"/>
              <a:pPr/>
              <a:t>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1" name="Text Placeholder 309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228725" y="1846263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420C1CE-F3DB-4390-BDC7-0F115CE1CE88}" type="datetime'''''''''''''''''''''''''''''''''''7'''''">
              <a:rPr lang="en-US" sz="1400" b="0"/>
              <a:pPr/>
              <a:t>7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7" name="Text Placeholder 305"/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228725" y="3960813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3DD7CA7-06A9-495A-AC33-316B43D08C7A}" type="datetime'''''''''''''''''''''''''''''''''''''3'''''''''''''''''''''''">
              <a:rPr lang="en-US" sz="1400" b="0"/>
              <a:pPr/>
              <a:t>3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6" name="Text Placeholder 360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9559925" y="5810250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B25D427-D507-4AEB-96CE-4916D0F2A64B}" type="datetime'''''''''''''''''5''''''''''''''''''''''''0'''">
              <a:rPr lang="en-US" sz="1400" b="0"/>
              <a:pPr/>
              <a:t>5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7" name="Text Placeholder 330"/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6226175" y="5810250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07C8351-3D03-4A9D-805A-0BB8C4BD5B49}" type="datetime'''''''''''''''3''5'''''''''">
              <a:rPr lang="en-US" sz="1400" b="0"/>
              <a:pPr/>
              <a:t>3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6" name="Text Placeholder 306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228725" y="3427413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E7AEED19-56E5-4D72-84B9-3F3C26A532D8}" type="datetime'''''''''''''''''''''''''''''4'''">
              <a:rPr lang="en-US" sz="1400" b="0"/>
              <a:pPr/>
              <a:t>4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0" name="Text Placeholder 303"/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1228725" y="5018088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0D45FE4-3275-4E01-88C4-E13575A25E77}" type="datetime'''1'''''''''''''''''''''''''''''">
              <a:rPr lang="en-US" sz="1400" b="0"/>
              <a:pPr/>
              <a:t>1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Text Placeholder 302"/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1228725" y="5541963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2EF65A41-EF78-4973-9F45-3C6C12636CCC}" type="datetime'''''''''''''''''''''''''0'''''''''''''''''">
              <a:rPr lang="en-US" sz="1400" b="0"/>
              <a:pPr/>
              <a:t>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 Placeholder 340"/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8445500" y="5810250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94E8F56-804C-44D0-B0CD-87C68C1B9AB2}" type="datetime'''''''''''''''''4''''''''''''''5'''''''''''''''''''''''''">
              <a:rPr lang="en-US" sz="1400" b="0"/>
              <a:pPr/>
              <a:t>4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Text Placeholder 310"/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1417638" y="5810250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5150CE9-6227-4795-BCBB-34D6557EDC18}" type="datetime'''''''''''''''''''''''''''''''''''''''''''0'''''">
              <a:rPr lang="en-US" sz="1400" b="0"/>
              <a:pPr/>
              <a:t>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2" name="Text Placeholder 341"/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1787525" y="5810250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69C9DFF-61BD-41C2-8AD5-4D2B572447EF}" type="datetime'''''''1''''''''''''''''''''''5'">
              <a:rPr lang="en-US" sz="1400" b="0"/>
              <a:pPr/>
              <a:t>1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4" name="Text Placeholder 315"/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2901950" y="5810250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6895F3F-6C0B-4056-A91E-81C0B98D7128}" type="datetime'''''''''''''''2''''0'''''''''''''''''''''''''''''''''''">
              <a:rPr lang="en-US" sz="1400" b="0"/>
              <a:pPr/>
              <a:t>2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72" name="Straight Connector 171"/>
          <p:cNvCxnSpPr/>
          <p:nvPr>
            <p:custDataLst>
              <p:tags r:id="rId32"/>
            </p:custDataLst>
          </p:nvPr>
        </p:nvCxnSpPr>
        <p:spPr bwMode="auto">
          <a:xfrm flipH="1">
            <a:off x="1885950" y="1895475"/>
            <a:ext cx="6657975" cy="28765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 useBgFill="1">
        <p:nvSpPr>
          <p:cNvPr id="173" name="Freeform 172"/>
          <p:cNvSpPr/>
          <p:nvPr>
            <p:custDataLst>
              <p:tags r:id="rId33"/>
            </p:custDataLst>
          </p:nvPr>
        </p:nvSpPr>
        <p:spPr bwMode="auto">
          <a:xfrm>
            <a:off x="1630363" y="5576888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4" name="Freeform 173"/>
          <p:cNvSpPr/>
          <p:nvPr>
            <p:custDataLst>
              <p:tags r:id="rId34"/>
            </p:custDataLst>
          </p:nvPr>
        </p:nvSpPr>
        <p:spPr bwMode="auto">
          <a:xfrm>
            <a:off x="1630363" y="5576888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5" name="Freeform 174"/>
          <p:cNvSpPr/>
          <p:nvPr>
            <p:custDataLst>
              <p:tags r:id="rId35"/>
            </p:custDataLst>
          </p:nvPr>
        </p:nvSpPr>
        <p:spPr bwMode="auto">
          <a:xfrm>
            <a:off x="1687513" y="5576888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3" name="Text Placeholder 280"/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9898063" y="5435600"/>
            <a:ext cx="7572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smtClean="0">
                <a:sym typeface="+mn-lt"/>
              </a:rPr>
              <a:t>Discount</a:t>
            </a:r>
          </a:p>
          <a:p>
            <a:r>
              <a:rPr lang="en-US" sz="1400" b="0" kern="0" smtClean="0">
                <a:sym typeface="+mn-lt"/>
              </a:rPr>
              <a:t>Percent</a:t>
            </a:r>
            <a:endParaRPr lang="en-US" sz="1400" b="0" kern="0" dirty="0">
              <a:sym typeface="+mn-lt"/>
            </a:endParaRPr>
          </a:p>
        </p:txBody>
      </p:sp>
      <p:sp>
        <p:nvSpPr>
          <p:cNvPr id="181" name="Text Placeholder 290"/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1058863" y="746125"/>
            <a:ext cx="81756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smtClean="0">
                <a:sym typeface="+mn-lt"/>
              </a:rPr>
              <a:t>Sales/day</a:t>
            </a:r>
          </a:p>
          <a:p>
            <a:pPr algn="ctr"/>
            <a:r>
              <a:rPr lang="en-US" sz="1400" b="0" smtClean="0">
                <a:sym typeface="+mn-lt"/>
              </a:rPr>
              <a:t>Thousand</a:t>
            </a:r>
          </a:p>
        </p:txBody>
      </p:sp>
      <p:sp useBgFill="1">
        <p:nvSpPr>
          <p:cNvPr id="178" name="Text Placeholder 301"/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473700" y="2536825"/>
            <a:ext cx="1268413" cy="212725"/>
          </a:xfrm>
          <a:prstGeom prst="rect">
            <a:avLst/>
          </a:prstGeom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38BF24F1-6E26-45CB-8432-627B3A57D8EE}" type="datetime'''V''''''a''''''''''''l''''''''''en''t''ine’s'' ''D''''''ay'''">
              <a:rPr lang="en-US" sz="1400" b="0"/>
              <a:pPr/>
              <a:t>Valentine’s Day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Text Placeholder 299"/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416425" y="4079875"/>
            <a:ext cx="13589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B7CE652F-3C74-40B3-88F9-F894405F530A}" type="datetime'''Ea''''''s''''''t''''e''''r'''''''''' Week''''''''''e''nd'''">
              <a:rPr lang="en-US" sz="1400" b="0"/>
              <a:pPr/>
              <a:t>Easter Weekend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6" name="Text Placeholder 366"/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937000" y="3657600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6DCF141-4BEC-47E6-9DFA-21D6B0888310}" type="datetime'7'''''''''''''''''''''''''''''''''''''''''''''''''''''''''''''">
              <a:rPr lang="en-US" sz="1400" b="0"/>
              <a:pPr/>
              <a:t>7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2" name="Text Placeholder 365"/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1806575" y="4727575"/>
            <a:ext cx="149225" cy="212725"/>
          </a:xfrm>
          <a:prstGeom prst="rect">
            <a:avLst/>
          </a:prstGeom>
          <a:solidFill>
            <a:schemeClr val="accent2"/>
          </a:solidFill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4778984-3D89-440F-BB59-05159A881723}" type="datetime'''''''''''''''''''''2'''''">
              <a:rPr lang="en-US" sz="1400" b="0"/>
              <a:pPr/>
              <a:t>2</a:t>
            </a:fld>
            <a:endParaRPr lang="en-US" sz="1400" b="0" kern="0" dirty="0">
              <a:sym typeface="+mn-lt"/>
            </a:endParaRPr>
          </a:p>
        </p:txBody>
      </p:sp>
      <p:sp>
        <p:nvSpPr>
          <p:cNvPr id="184" name="Text Placeholder 297"/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7710488" y="2587625"/>
            <a:ext cx="165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4C7B471A-1BAE-4DCF-8DAD-9FE6E290C0EB}" type="datetime'''''Ch''''ri''st''''''mas/Ne''w'' Y''''''''e''''a''''r'''">
              <a:rPr lang="en-US" sz="1400" b="0"/>
              <a:pPr/>
              <a:t>Christmas/New Year</a:t>
            </a:fld>
            <a:endParaRPr lang="en-US" sz="1400" b="0" kern="0" dirty="0">
              <a:sym typeface="+mn-lt"/>
            </a:endParaRPr>
          </a:p>
        </p:txBody>
      </p:sp>
      <p:sp>
        <p:nvSpPr>
          <p:cNvPr id="177" name="Text Placeholder 300"/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4445000" y="3746500"/>
            <a:ext cx="8794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103B7A09-1287-461F-B30E-E2BE853BD5E1}" type="datetime'H''al''''low''''''''''''''''''''''e''''e''''''''''n'''''''''">
              <a:rPr lang="en-US" sz="1400" b="0"/>
              <a:pPr/>
              <a:t>Halloween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9" name="Text Placeholder 298"/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2063750" y="4727575"/>
            <a:ext cx="1066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DAB6C501-5D63-4A06-A5FC-5DCCB4DD9837}" type="datetime'N''''''a''''''''''''tio''''n''a''''''l ''Da''''''y'''''''">
              <a:rPr lang="en-US" sz="1400" b="0"/>
              <a:pPr/>
              <a:t>National Day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Oval 186"/>
          <p:cNvSpPr/>
          <p:nvPr>
            <p:custDataLst>
              <p:tags r:id="rId45"/>
            </p:custDataLst>
          </p:nvPr>
        </p:nvSpPr>
        <p:spPr bwMode="auto">
          <a:xfrm>
            <a:off x="10215563" y="1082675"/>
            <a:ext cx="187325" cy="187325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5" name="Oval 184"/>
          <p:cNvSpPr/>
          <p:nvPr>
            <p:custDataLst>
              <p:tags r:id="rId46"/>
            </p:custDataLst>
          </p:nvPr>
        </p:nvSpPr>
        <p:spPr bwMode="auto">
          <a:xfrm>
            <a:off x="10215563" y="819150"/>
            <a:ext cx="187325" cy="18732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6" name="Oval 185"/>
          <p:cNvSpPr/>
          <p:nvPr>
            <p:custDataLst>
              <p:tags r:id="rId47"/>
            </p:custDataLst>
          </p:nvPr>
        </p:nvSpPr>
        <p:spPr bwMode="auto">
          <a:xfrm>
            <a:off x="10215563" y="1346200"/>
            <a:ext cx="187325" cy="187325"/>
          </a:xfrm>
          <a:prstGeom prst="ellipse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0" name="Text Placeholder 344"/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10485438" y="1341438"/>
            <a:ext cx="10953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2FE7F4AD-5DDE-4C2E-9C8C-A9FBE36D114A}" type="datetime'S''o''''''''''''c''i''al ho''''''''''''li''''d''''''''ay'">
              <a:rPr lang="en-US" sz="1400" b="0"/>
              <a:pPr/>
              <a:t>Social holiday</a:t>
            </a:fld>
            <a:endParaRPr lang="en-US" sz="1400" b="0" kern="0" dirty="0">
              <a:sym typeface="+mn-lt"/>
            </a:endParaRPr>
          </a:p>
        </p:txBody>
      </p:sp>
      <p:sp>
        <p:nvSpPr>
          <p:cNvPr id="189" name="Text Placeholder 342"/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0485438" y="1077913"/>
            <a:ext cx="1262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002F4EEF-6DC4-4CB9-B885-62170C26DED6}" type="datetime'''N''at''''i''''o''n''a''l'''' ''h''''o''''''l''i''day'''''''">
              <a:rPr lang="en-US" sz="1400" b="0"/>
              <a:pPr/>
              <a:t>National holiday</a:t>
            </a:fld>
            <a:endParaRPr lang="en-US" sz="1400" b="0" kern="0" dirty="0">
              <a:sym typeface="+mn-lt"/>
            </a:endParaRPr>
          </a:p>
        </p:txBody>
      </p:sp>
      <p:sp>
        <p:nvSpPr>
          <p:cNvPr id="188" name="Text Placeholder 343"/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10485438" y="814388"/>
            <a:ext cx="1341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63F9D80E-7F99-4128-8F38-DE7C37554603}" type="datetime'R''''''''eli''''g''i''o''''us'' ''''''''''''h''o''''lid''ay'">
              <a:rPr lang="en-US" sz="1400" b="0"/>
              <a:pPr/>
              <a:t>Religious holiday</a:t>
            </a:fld>
            <a:endParaRPr lang="en-US" sz="1400" b="0" kern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_gDUgCDE2OWaglOgdH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4ImTp5.kSqIbfFKyMW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EF1PrQTUmdrJ1Fx.vU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_wnr_n6Eq17cEmmDne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BnX7GQ3EuqmuHjOzWp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rd2a9Ol06_HDK4dIvy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DVKMqoYUOnqTlA0qbx.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arHKCgOkCS1WRbEpH9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9DBuO2w0Oz5n2F1KX7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vl51FroUStm_4KtL2B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rPWc7XaUGMb5Un_iDm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9NmO4EeEO2mtoYzwy0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FR4cJkQUO4VbKN2VKx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wAmOAZzE2mt.mL.BKC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HfFfK8.ESbjcvVfDvTW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HXlT7UdkmXgAMG1OhA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Pzz8ylwUeL_kobBncg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3666TnR0Srjt80NfXd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KcRqN4MUq7UNWVNtrU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yxTjHXzEiadUp6MlAI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brDfbN3EGljoTfgaVf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sKgvEZ3U.2VLpag9JU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J2bnD0vEOdHwi_vPsz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i9jbYpCkWsmydr5Spb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1ragV.3k.xKOj90dZo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8xx2RtU6De0VKEZNr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oqisfyZkWCGEfoZxPp2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MYFWx6TkyFKroTaJo0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xjwAu8N0e62AkqYoSp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fG9kUS1k2ll8dFVZTo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REHZEL90OFRlByrH6X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zImqvRtEmaZeQPuFGJ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VJhvphqUaBMuvOucW7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_NpYSg3EWk6lGppYK8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.mo_q7WEyvn5Crlls7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6Ml_lmc0iPGKXe0cnF5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1MXYObVEaCzFQ7chx7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FlJ55MVUqMXgIxCFAI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IkfoEql0qjHQAldqI0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0Prhe230.sJNsytp6a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3H9A7cXEyh3gn5evhG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aKeZZH_0G0zHB7H7MW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CjV1QhE0.Q4NZQnjwf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tBTFL_Nk29pFzB1nm0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eiJheCJkmofZGqeFR7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bMWzUkBEq.99SrMe19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02MF.JZ0eWL4pwWr.7Ww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</Words>
  <Application>Microsoft Office PowerPoint</Application>
  <PresentationFormat>Custom</PresentationFormat>
  <Paragraphs>34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Scatter/Bubble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7:07:37Z</dcterms:created>
  <dcterms:modified xsi:type="dcterms:W3CDTF">2013-11-29T17:07:45Z</dcterms:modified>
</cp:coreProperties>
</file>